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77" r:id="rId1"/>
  </p:sldMasterIdLst>
  <p:notesMasterIdLst>
    <p:notesMasterId r:id="rId2"/>
  </p:notesMaster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8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570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286F6-72CF-4385-8DA6-28D21D2DF6AD}" type="datetimeFigureOut">
              <a:rPr lang="en-US" smtClean="0"/>
              <a:t>12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8F983E-E6AA-4640-89FE-C1C597E589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597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31E548D-A5CC-A802-F490-30A89C3C12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44638" y="781050"/>
            <a:ext cx="6534150" cy="4954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142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DC2C62-7AC7-CC1C-8A6A-DE1623A3E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804A4-DF5C-D282-E75E-3CE798B14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A6C6C-050C-3728-3381-282CA41C22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7596955-91BB-4F65-BDC4-57F70BD671E2}" type="datetimeFigureOut">
              <a:rPr lang="en-US" smtClean="0"/>
              <a:t>12/1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6A8770-930D-9FA4-9261-90B58B2A2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20B75E-61F5-1336-C40C-4D6CC9B3B8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BA345D-F3DF-4576-86AB-8059988AC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079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2.0.50727.5448"/>
  <p:tag name="AS_OS" val="Microsoft Windows NT 6.2.9200.0"/>
  <p:tag name="AS_RELEASE_DATE" val="2024.07.19"/>
  <p:tag name="AS_TITLE" val="Aspose.Slides for C++"/>
  <p:tag name="AS_VERSION" val="24.7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1mMYa41M1LgzbSiiyzIcgFAAAAAAADAAAAAwADAAAAAQADAAEA////////BAAAAAMAEAALwksjGNeLg0efovjpVEz5O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DAP///////wQAAAADAP///////wMABAEDAAAAAwD///////8lAAZMaW5rZWRTaGFwZVByZXNlbnRhdGlvblNldHRpbmdzRGF0YV8wBQAAAAEABAAAAAAABAAAAAI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1mMYa41M1LgzbSiiyzIcgDRGF0YQAbAAAABExpbmtlZFNoYXBlRGF0YQAFAAAAAAACTmFtZQAZAAAATGlua2VkU2hhcGVzRGF0YVByb3BlcnR5ABBWZXJzaW9uAAAAAAAJTGFzdFdyaXRlAIUAmz6JAQAAAAEA/////8YAxgAAAAVfaWQAEAAAAATCSyMY14uDR5+i+OlUTPk7A0RhdGEAUwAAAAhQcmVzZW50YXRpb25TY2FubmVkRm9yTGlua2VkU2hhcGVzAAECTnVtYmVyRm9ybWF0U2VwYXJhdG9yTW9kZQAKAAAAQXV0b21hdGljAAACTmFtZQAkAAAATGlua2VkU2hhcGVQcmVzZW50YXRpb25TZXR0aW5nc0RhdGEAEFZlcnNpb24AAAAAAAlMYXN0V3JpdGUAsACbPo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B_LENGTH" val="24576"/>
  <p:tag name="EMPOWERCHARTSPROPERTIES_SLOT" val="B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Beng" typeface="Vrinda"/>
        <a:font script="Jpan" typeface="游ゴシック Light"/>
        <a:font script="Hang" typeface="맑은 고딕"/>
        <a:font script="Hans" typeface="等线 Light"/>
        <a:font script="Thai" typeface="Angsana New"/>
        <a:font script="Hant" typeface="新細明體"/>
        <a:font script="Khmr" typeface="MoolBoran"/>
        <a:font script="Arab" typeface="Times New Roman"/>
        <a:font script="Hebr" typeface="Times New Roman"/>
        <a:font script="Lisu" typeface="Segoe UI"/>
        <a:font script="Laoo" typeface="DokChampa"/>
        <a:font script="Ethi" typeface="Nyala"/>
        <a:font script="Gujr" typeface="Shruti"/>
        <a:font script="Uigh" typeface="Microsoft Uighur"/>
        <a:font script="Knda" typeface="Tunga"/>
        <a:font script="Guru" typeface="Raavi"/>
        <a:font script="Cans" typeface="Euphemia"/>
        <a:font script="Cher" typeface="Plantagenet Cherokee"/>
        <a:font script="Armn" typeface="Arial"/>
        <a:font script="Yiii" typeface="Microsoft Yi Baiti"/>
        <a:font script="Tibt" typeface="Microsoft Himalaya"/>
        <a:font script="Orya" typeface="Kalinga"/>
        <a:font script="Thaa" typeface="MV Boli"/>
        <a:font script="Deva" typeface="Mangal"/>
        <a:font script="Talu" typeface="Microsoft New Tai Lue"/>
        <a:font script="Telu" typeface="Gautami"/>
        <a:font script="Sora" typeface="Nirmala UI"/>
        <a:font script="Taml" typeface="Latha"/>
        <a:font script="Syrc" typeface="Estrangelo Edessa"/>
        <a:font script="Mlym" typeface="Kartika"/>
        <a:font script="Sinh" typeface="Iskoola Pota"/>
        <a:font script="Mong" typeface="Mongolian Baiti"/>
        <a:font script="Viet" typeface="Times New Roman"/>
        <a:font script="Geor" typeface="Sylfaen"/>
        <a:font script="Bugi" typeface="Leelawadee UI"/>
        <a:font script="Bopo" typeface="Microsoft JhengHei"/>
        <a:font script="Java" typeface="Javanese Text"/>
        <a:font script="Syrn" typeface="Estrangelo Edessa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j" typeface="Estrangelo Edessa"/>
        <a:font script="Syre" typeface="Estrangelo Edessa"/>
        <a:font script="Tale" typeface="Microsoft Tai L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Beng" typeface="Vrinda"/>
        <a:font script="Jpan" typeface="游ゴシック"/>
        <a:font script="Hang" typeface="맑은 고딕"/>
        <a:font script="Hans" typeface="等线"/>
        <a:font script="Thai" typeface="Cordia New"/>
        <a:font script="Hant" typeface="新細明體"/>
        <a:font script="Khmr" typeface="DaunPenh"/>
        <a:font script="Arab" typeface="Arial"/>
        <a:font script="Hebr" typeface="Arial"/>
        <a:font script="Lisu" typeface="Segoe UI"/>
        <a:font script="Laoo" typeface="DokChampa"/>
        <a:font script="Ethi" typeface="Nyala"/>
        <a:font script="Gujr" typeface="Shruti"/>
        <a:font script="Uigh" typeface="Microsoft Uighur"/>
        <a:font script="Knda" typeface="Tunga"/>
        <a:font script="Guru" typeface="Raavi"/>
        <a:font script="Cans" typeface="Euphemia"/>
        <a:font script="Cher" typeface="Plantagenet Cherokee"/>
        <a:font script="Armn" typeface="Arial"/>
        <a:font script="Yiii" typeface="Microsoft Yi Baiti"/>
        <a:font script="Tibt" typeface="Microsoft Himalaya"/>
        <a:font script="Orya" typeface="Kalinga"/>
        <a:font script="Thaa" typeface="MV Boli"/>
        <a:font script="Deva" typeface="Mangal"/>
        <a:font script="Talu" typeface="Microsoft New Tai Lue"/>
        <a:font script="Telu" typeface="Gautami"/>
        <a:font script="Sora" typeface="Nirmala UI"/>
        <a:font script="Taml" typeface="Latha"/>
        <a:font script="Syrc" typeface="Estrangelo Edessa"/>
        <a:font script="Mlym" typeface="Kartika"/>
        <a:font script="Sinh" typeface="Iskoola Pota"/>
        <a:font script="Mong" typeface="Mongolian Baiti"/>
        <a:font script="Viet" typeface="Arial"/>
        <a:font script="Geor" typeface="Sylfaen"/>
        <a:font script="Bugi" typeface="Leelawadee UI"/>
        <a:font script="Bopo" typeface="Microsoft JhengHei"/>
        <a:font script="Java" typeface="Javanese Text"/>
        <a:font script="Syrn" typeface="Estrangelo Edessa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j" typeface="Estrangelo Edessa"/>
        <a:font script="Syre" typeface="Estrangelo Edessa"/>
        <a:font script="Tale" typeface="Microsoft Tai L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f75f480-7803-4ee9-bb54-84d0635fdbe7}" enabled="1" method="Privilege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A4 Paper (210x297 mm)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5" baseType="lpstr">
      <vt:lpstr>Aptos</vt:lpstr>
      <vt:lpstr>Aptos Display</vt:lpstr>
      <vt:lpstr>Arial</vt:lpstr>
      <vt:lpstr>Calibri</vt:lpstr>
      <vt:lpstr>Custom Desig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4-12-17T08:42:45Z</dcterms:created>
  <dcterms:modified xsi:type="dcterms:W3CDTF">2024-12-17T08:42:49Z</dcterms:modified>
</cp:coreProperties>
</file>